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5" r:id="rId2"/>
    <p:sldId id="593" r:id="rId3"/>
    <p:sldId id="602" r:id="rId4"/>
    <p:sldId id="608" r:id="rId5"/>
    <p:sldId id="570" r:id="rId6"/>
    <p:sldId id="604" r:id="rId7"/>
    <p:sldId id="598" r:id="rId8"/>
    <p:sldId id="607" r:id="rId9"/>
    <p:sldId id="592" r:id="rId10"/>
  </p:sldIdLst>
  <p:sldSz cx="9144000" cy="6858000" type="screen4x3"/>
  <p:notesSz cx="6797675" cy="9928225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12">
          <p15:clr>
            <a:srgbClr val="A4A3A4"/>
          </p15:clr>
        </p15:guide>
        <p15:guide id="2" pos="53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426"/>
    <a:srgbClr val="015289"/>
    <a:srgbClr val="009BD2"/>
    <a:srgbClr val="009AD0"/>
    <a:srgbClr val="003CFE"/>
    <a:srgbClr val="43ACD1"/>
    <a:srgbClr val="62B9D8"/>
    <a:srgbClr val="0033CC"/>
    <a:srgbClr val="F5F9FD"/>
    <a:srgbClr val="D9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19" autoAdjust="0"/>
    <p:restoredTop sz="92039" autoAdjust="0"/>
  </p:normalViewPr>
  <p:slideViewPr>
    <p:cSldViewPr snapToGrid="0" snapToObjects="1" showGuides="1">
      <p:cViewPr>
        <p:scale>
          <a:sx n="103" d="100"/>
          <a:sy n="103" d="100"/>
        </p:scale>
        <p:origin x="-378" y="-60"/>
      </p:cViewPr>
      <p:guideLst>
        <p:guide orient="horz" pos="3112"/>
        <p:guide pos="53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41E956D8-05A6-AB44-AA88-936B911B0708}" type="datetimeFigureOut">
              <a:rPr lang="ru-RU" smtClean="0"/>
              <a:t>14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870CF3E5-1CE4-974E-89E5-4936074A4C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954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0BD8A9B1-6556-2D40-BF55-6B8C47F71E23}" type="datetimeFigureOut">
              <a:rPr lang="ru-RU" smtClean="0"/>
              <a:t>14.08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1" tIns="45656" rIns="91311" bIns="4565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11" tIns="45656" rIns="91311" bIns="4565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A8B182D7-AC87-F146-AF7F-C576E128A1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546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0800000" flipH="1" flipV="1">
            <a:off x="7" y="434092"/>
            <a:ext cx="2261973" cy="6423908"/>
          </a:xfrm>
          <a:prstGeom prst="rect">
            <a:avLst/>
          </a:prstGeom>
          <a:solidFill>
            <a:srgbClr val="E1E2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8" name="Rectangle 10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0800000" flipH="1">
            <a:off x="2220383" y="3"/>
            <a:ext cx="173728" cy="6872578"/>
          </a:xfrm>
          <a:prstGeom prst="rect">
            <a:avLst/>
          </a:prstGeom>
          <a:gradFill rotWithShape="1">
            <a:gsLst>
              <a:gs pos="0">
                <a:srgbClr val="004E8E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9" name="Rectangle 104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5400000">
            <a:off x="4332757" y="-4348950"/>
            <a:ext cx="490783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10" name="Rectangle 104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V="1">
            <a:off x="4506064" y="2221289"/>
            <a:ext cx="144158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Название 1"/>
          <p:cNvSpPr>
            <a:spLocks noGrp="1"/>
          </p:cNvSpPr>
          <p:nvPr userDrawn="1">
            <p:ph type="ctrTitle"/>
          </p:nvPr>
        </p:nvSpPr>
        <p:spPr>
          <a:xfrm>
            <a:off x="2907366" y="3302282"/>
            <a:ext cx="5550834" cy="430887"/>
          </a:xfrm>
        </p:spPr>
        <p:txBody>
          <a:bodyPr lIns="0" tIns="0" rIns="0" bIns="0">
            <a:spAutoFit/>
          </a:bodyPr>
          <a:lstStyle>
            <a:lvl1pPr algn="l">
              <a:defRPr sz="2800" b="1" i="0">
                <a:solidFill>
                  <a:srgbClr val="015289"/>
                </a:solidFill>
                <a:latin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813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89858" y="274648"/>
            <a:ext cx="8760469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ru-RU" sz="2000" b="1" i="0" u="none" strike="noStrike" kern="0" cap="none" spc="0" normalizeH="0" baseline="0">
                <a:ln>
                  <a:noFill/>
                </a:ln>
                <a:solidFill>
                  <a:srgbClr val="015289"/>
                </a:solidFill>
                <a:effectLst/>
                <a:uLnTx/>
                <a:uFillTx/>
                <a:latin typeface="Arial"/>
                <a:ea typeface="Arial" charset="0"/>
                <a:cs typeface="Arial"/>
              </a:defRPr>
            </a:lvl1pPr>
          </a:lstStyle>
          <a:p>
            <a:pPr marL="0" marR="0" lvl="0" indent="0" algn="l" defTabSz="913321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1755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9355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855" y="274648"/>
            <a:ext cx="8760470" cy="307777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4" y="6538827"/>
            <a:ext cx="2397125" cy="236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" y="-1"/>
            <a:ext cx="9143999" cy="6872578"/>
            <a:chOff x="1" y="-1"/>
            <a:chExt cx="9910800" cy="6872578"/>
          </a:xfrm>
        </p:grpSpPr>
        <p:sp>
          <p:nvSpPr>
            <p:cNvPr id="7" name="Rectangle 1028"/>
            <p:cNvSpPr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auto">
            <a:xfrm rot="16200000" flipV="1">
              <a:off x="4900889" y="1867465"/>
              <a:ext cx="104225" cy="99060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ru-RU" altLang="ru-RU" sz="1000" b="1" smtClean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8" name="Rectangle 1027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auto">
            <a:xfrm rot="5400000">
              <a:off x="4852801" y="-4852801"/>
              <a:ext cx="205200" cy="99108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0" lang="ru-RU" altLang="ru-RU" sz="1200" i="1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383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rgbClr val="015289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fpmo.ru/" TargetMode="External"/><Relationship Id="rId5" Type="http://schemas.openxmlformats.org/officeDocument/2006/relationships/image" Target="../media/image1.w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mii.mosreg.ru/" TargetMode="External"/><Relationship Id="rId3" Type="http://schemas.openxmlformats.org/officeDocument/2006/relationships/notesSlide" Target="../notesSlides/notesSlide7.xml"/><Relationship Id="rId7" Type="http://schemas.openxmlformats.org/officeDocument/2006/relationships/hyperlink" Target="http://mbmosreg.ru/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11" Type="http://schemas.openxmlformats.org/officeDocument/2006/relationships/image" Target="../media/image6.png"/><Relationship Id="rId5" Type="http://schemas.openxmlformats.org/officeDocument/2006/relationships/image" Target="../media/image1.wmf"/><Relationship Id="rId10" Type="http://schemas.openxmlformats.org/officeDocument/2006/relationships/hyperlink" Target="http://www.fpmo.ru/" TargetMode="External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422453" y="2257643"/>
            <a:ext cx="6581591" cy="2154436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4586"/>
                </a:solidFill>
                <a:ea typeface="Calibri"/>
              </a:rPr>
              <a:t>Поддержка малого и среднего предпринимательства в Московской области в 2017 </a:t>
            </a:r>
            <a:r>
              <a:rPr lang="ru-RU" dirty="0" smtClean="0">
                <a:solidFill>
                  <a:srgbClr val="004586"/>
                </a:solidFill>
                <a:ea typeface="Calibri"/>
              </a:rPr>
              <a:t>году</a:t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/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>СУБСИДИИ</a:t>
            </a:r>
            <a:r>
              <a:rPr lang="ru-RU" sz="2400" dirty="0" smtClean="0">
                <a:solidFill>
                  <a:srgbClr val="004586"/>
                </a:solidFill>
                <a:ea typeface="Calibri"/>
              </a:rPr>
              <a:t> </a:t>
            </a:r>
            <a:endParaRPr lang="ru-RU" sz="2400" dirty="0"/>
          </a:p>
        </p:txBody>
      </p:sp>
      <p:sp>
        <p:nvSpPr>
          <p:cNvPr id="4" name="CustomShape 2"/>
          <p:cNvSpPr/>
          <p:nvPr/>
        </p:nvSpPr>
        <p:spPr>
          <a:xfrm>
            <a:off x="100800" y="6282360"/>
            <a:ext cx="203904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400" strike="noStrike" dirty="0" smtClean="0">
                <a:solidFill>
                  <a:srgbClr val="004586"/>
                </a:solidFill>
                <a:latin typeface="Arial"/>
                <a:ea typeface="Calibri"/>
              </a:rPr>
              <a:t>Июль 2017 </a:t>
            </a:r>
            <a:r>
              <a:rPr lang="ru-RU" sz="1400" strike="noStrike" dirty="0">
                <a:solidFill>
                  <a:srgbClr val="004586"/>
                </a:solidFill>
                <a:latin typeface="Arial"/>
                <a:ea typeface="Calibri"/>
              </a:rPr>
              <a:t>года</a:t>
            </a:r>
            <a:endParaRPr dirty="0"/>
          </a:p>
        </p:txBody>
      </p:sp>
      <p:sp>
        <p:nvSpPr>
          <p:cNvPr id="5" name="TextShape 3"/>
          <p:cNvSpPr txBox="1"/>
          <p:nvPr/>
        </p:nvSpPr>
        <p:spPr>
          <a:xfrm>
            <a:off x="2263366" y="6192000"/>
            <a:ext cx="6880634" cy="48420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 anchor="ctr" anchorCtr="0"/>
          <a:lstStyle/>
          <a:p>
            <a:pPr algn="ctr">
              <a:lnSpc>
                <a:spcPct val="100000"/>
              </a:lnSpc>
            </a:pPr>
            <a:r>
              <a:rPr lang="ru-RU" strike="noStrike" dirty="0" smtClean="0">
                <a:solidFill>
                  <a:srgbClr val="004586"/>
                </a:solidFill>
                <a:latin typeface="Arial"/>
                <a:ea typeface="Calibri"/>
              </a:rPr>
              <a:t>Министерство инвестиций и инноваций Московской области</a:t>
            </a:r>
            <a:endParaRPr sz="28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6432012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11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cap="all" dirty="0"/>
              <a:t>МЕРЫ ФИНАНСОВОЙ ПОДДЕРЖКИ – СУБСИДИИ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975324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2</a:t>
            </a:fld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18855" y="1678490"/>
            <a:ext cx="5040000" cy="1349999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Частичная компенсация произведённых затрат на создание / развитие / модернизацию производства</a:t>
            </a: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918855" y="3337531"/>
            <a:ext cx="5040000" cy="244462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algn="ctr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ддержка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МСП,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осуществляющим предоставление услуг (производство товаров): социальное обслуживан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граждан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услуги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здравоохранения / детск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и молодежны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кружки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детск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центры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производство и (или) реализация медицин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техники / обеспечен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культурно-просветитель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деятельности / ремесленничество</a:t>
            </a:r>
            <a:endParaRPr lang="ru-RU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234132" y="1903489"/>
            <a:ext cx="3420000" cy="900000"/>
          </a:xfrm>
          <a:prstGeom prst="rightArrow">
            <a:avLst>
              <a:gd name="adj1" fmla="val 69183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МОДЕРНИЗАЦИЯ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34132" y="4019841"/>
            <a:ext cx="3420000" cy="1080000"/>
          </a:xfrm>
          <a:prstGeom prst="rightArrow">
            <a:avLst>
              <a:gd name="adj1" fmla="val 67572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СОЦИАЛЬНОЕ ПРЕДПРИНИМАТЕЛЬСТВО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AutoShape 73"/>
          <p:cNvSpPr>
            <a:spLocks noChangeArrowheads="1"/>
          </p:cNvSpPr>
          <p:nvPr/>
        </p:nvSpPr>
        <p:spPr bwMode="auto">
          <a:xfrm>
            <a:off x="1150032" y="820346"/>
            <a:ext cx="6874292" cy="597902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Мероприятия Подпрограммы </a:t>
            </a: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III</a:t>
            </a: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 Государственной программы </a:t>
            </a:r>
            <a:b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«Предпринимательство Подмосковья» в 2017 году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5866" y="5920517"/>
            <a:ext cx="827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kern="0" dirty="0">
                <a:solidFill>
                  <a:srgbClr val="002060"/>
                </a:solidFill>
                <a:cs typeface="Arial"/>
              </a:rPr>
              <a:t>Получатели </a:t>
            </a:r>
            <a:r>
              <a:rPr lang="ru-RU" b="1" kern="0" dirty="0" smtClean="0">
                <a:solidFill>
                  <a:srgbClr val="002060"/>
                </a:solidFill>
                <a:cs typeface="Arial"/>
              </a:rPr>
              <a:t>субсидий – субъекты </a:t>
            </a:r>
            <a:r>
              <a:rPr lang="ru-RU" b="1" kern="0" dirty="0">
                <a:solidFill>
                  <a:srgbClr val="002060"/>
                </a:solidFill>
                <a:cs typeface="Arial"/>
              </a:rPr>
              <a:t>МСП, зарегистрированные и осуществляющие деятельность на территории Москов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66374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9" name="Picture 9" descr="Похожее изображен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344" y="2627234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3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2845685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Модернизация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90261" y="3417203"/>
            <a:ext cx="4637771" cy="23305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0" rIns="0"/>
          <a:lstStyle/>
          <a:p>
            <a:pPr>
              <a:spcAft>
                <a:spcPts val="600"/>
              </a:spcAft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, связанные с приобретением оборудования, устройств, механизмов, станков, приборов, аппаратов, агрегатов, установок, машин, спецтехники 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50 %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стоимости оборудования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0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956965" y="3417203"/>
            <a:ext cx="4176897" cy="209288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Оборудование, предназначенное для осуществления оптовой и розничной торговой 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деятельности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Транспортные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редства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Дата изготовления оборудования более 5 лет на дату подачи Заявки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1805" y="2787179"/>
            <a:ext cx="12486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81875" y="2787179"/>
            <a:ext cx="18214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000" b="1" kern="0">
                <a:solidFill>
                  <a:srgbClr val="015289"/>
                </a:solidFill>
                <a:cs typeface="Arial"/>
              </a:defRPr>
            </a:lvl1pPr>
          </a:lstStyle>
          <a:p>
            <a:r>
              <a:rPr lang="ru-RU" kern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ГРАНИЧЕНИЯ</a:t>
            </a:r>
          </a:p>
        </p:txBody>
      </p:sp>
      <p:sp>
        <p:nvSpPr>
          <p:cNvPr id="7" name="AutoShape 13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5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18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20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5861" name="Picture 21" descr="C:\Users\ChernovSV\Desktop\Без названия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826" y="268123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>
                <a:solidFill>
                  <a:srgbClr val="F68426"/>
                </a:solidFill>
                <a:cs typeface="Arial"/>
              </a:rPr>
              <a:t>300,0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 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8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49028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4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437449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9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Заголовок 2"/>
          <p:cNvSpPr txBox="1">
            <a:spLocks/>
          </p:cNvSpPr>
          <p:nvPr/>
        </p:nvSpPr>
        <p:spPr bwMode="auto">
          <a:xfrm>
            <a:off x="314193" y="2405093"/>
            <a:ext cx="8527348" cy="394712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</a:p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: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арендные платежи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выкуп помещения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ремонт и реконструкция помещения 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основных средств (за исключением легковых автомобилей)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оплата коммунальных услуг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сырья, расходных материалов и инструментов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участие в выставочных и </a:t>
            </a:r>
            <a:r>
              <a:rPr lang="ru-RU" b="1" kern="0" dirty="0" err="1">
                <a:solidFill>
                  <a:srgbClr val="015289"/>
                </a:solidFill>
                <a:cs typeface="Arial"/>
              </a:rPr>
              <a:t>выставочно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-ярмарочных мероприятиях </a:t>
            </a:r>
          </a:p>
          <a:p>
            <a:pPr marL="504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вышение квалификации работников </a:t>
            </a:r>
          </a:p>
          <a:p>
            <a:pPr marL="252000" indent="-252000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85 %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целевых затрат</a:t>
            </a:r>
          </a:p>
          <a:p>
            <a:pPr marL="252000" indent="-252000" defTabSz="912813" fontAlgn="auto">
              <a:spcBef>
                <a:spcPts val="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,5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13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Социальное предпринимательство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60,0</a:t>
            </a:r>
            <a:r>
              <a:rPr lang="ru-RU" sz="2000" b="1" kern="0" dirty="0" smtClean="0">
                <a:solidFill>
                  <a:srgbClr val="F68426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5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17595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dirty="0" smtClean="0"/>
              <a:t>ПРИЁМ ЗАЯВОК НА ПРЕДОСТАВЛЕНИЕ СУБСИДИЙ ЧЕРЕЗ МФЦ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8298773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5</a:t>
            </a:fld>
            <a:endParaRPr lang="ru-RU" b="1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-4102" y="1361989"/>
            <a:ext cx="1318940" cy="1510776"/>
            <a:chOff x="613272" y="1418894"/>
            <a:chExt cx="1584960" cy="1891360"/>
          </a:xfrm>
        </p:grpSpPr>
        <p:pic>
          <p:nvPicPr>
            <p:cNvPr id="14" name="Picture 2" descr="Картинки по запросу белые человечки для презентации деньги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272" y="1418894"/>
              <a:ext cx="1584960" cy="1584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613272" y="2924944"/>
              <a:ext cx="1584960" cy="385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002060"/>
                  </a:solidFill>
                </a:rPr>
                <a:t>ЗАЯВИТЕЛЬ</a:t>
              </a:r>
              <a:endParaRPr lang="ru-RU" sz="1400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354766" y="4518114"/>
            <a:ext cx="8455632" cy="14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Заявка на предоставление субсидий подается через любой из 105 МФЦ Московской области</a:t>
            </a:r>
          </a:p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МФЦ осуществляет логистику документов, перемещаемых между государственными учреждениями в ходе оказания услуги</a:t>
            </a:r>
            <a:endParaRPr lang="ru-RU" altLang="ru-RU" sz="2000" b="1" kern="0" dirty="0">
              <a:solidFill>
                <a:srgbClr val="015289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171830" y="1519252"/>
            <a:ext cx="1795760" cy="1142245"/>
            <a:chOff x="4052618" y="1435416"/>
            <a:chExt cx="2403422" cy="1447259"/>
          </a:xfrm>
        </p:grpSpPr>
        <p:pic>
          <p:nvPicPr>
            <p:cNvPr id="21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5155" y="1459060"/>
              <a:ext cx="1510811" cy="9763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Скругленный прямоугольник 21"/>
            <p:cNvSpPr/>
            <p:nvPr/>
          </p:nvSpPr>
          <p:spPr>
            <a:xfrm>
              <a:off x="4052618" y="1435416"/>
              <a:ext cx="2403422" cy="1447259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b" anchorCtr="0"/>
            <a:lstStyle/>
            <a:p>
              <a:pPr algn="ctr">
                <a:lnSpc>
                  <a:spcPct val="70000"/>
                </a:lnSpc>
              </a:pPr>
              <a:r>
                <a:rPr lang="ru-RU" sz="1200" b="1" dirty="0" smtClean="0">
                  <a:solidFill>
                    <a:schemeClr val="accent6">
                      <a:lumMod val="75000"/>
                    </a:schemeClr>
                  </a:solidFill>
                </a:rPr>
                <a:t>Проверка комплектности документов</a:t>
              </a:r>
              <a:endParaRPr lang="ru-RU" sz="12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sp>
        <p:nvSpPr>
          <p:cNvPr id="26" name="Стрелка вправо 25"/>
          <p:cNvSpPr/>
          <p:nvPr/>
        </p:nvSpPr>
        <p:spPr>
          <a:xfrm>
            <a:off x="5011335" y="1801247"/>
            <a:ext cx="1906432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ru-RU" sz="1250" b="1" dirty="0" smtClean="0"/>
              <a:t>Сформированная Заявка</a:t>
            </a:r>
            <a:endParaRPr lang="ru-RU" sz="1250" b="1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2836706" y="3015442"/>
            <a:ext cx="2466008" cy="974267"/>
            <a:chOff x="8608219" y="1627963"/>
            <a:chExt cx="3269079" cy="1166822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8608219" y="1627963"/>
              <a:ext cx="3269079" cy="116682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1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100" b="1" dirty="0" smtClean="0">
                  <a:solidFill>
                    <a:srgbClr val="015289"/>
                  </a:solidFill>
                </a:rPr>
                <a:t/>
              </a:r>
              <a:br>
                <a:rPr lang="ru-RU" sz="1100" b="1" dirty="0" smtClean="0">
                  <a:solidFill>
                    <a:srgbClr val="015289"/>
                  </a:solidFill>
                </a:rPr>
              </a:br>
              <a:r>
                <a:rPr lang="ru-RU" sz="11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100" b="1" dirty="0">
                  <a:solidFill>
                    <a:srgbClr val="015289"/>
                  </a:solidFill>
                </a:rPr>
                <a:t>инноваций Московской области</a:t>
              </a:r>
              <a:br>
                <a:rPr lang="ru-RU" sz="1100" b="1" dirty="0">
                  <a:solidFill>
                    <a:srgbClr val="015289"/>
                  </a:solidFill>
                </a:rPr>
              </a:br>
              <a:r>
                <a:rPr lang="ru-RU" sz="1200" b="1" dirty="0">
                  <a:solidFill>
                    <a:schemeClr val="accent6">
                      <a:lumMod val="75000"/>
                    </a:schemeClr>
                  </a:solidFill>
                </a:rPr>
                <a:t>Конкурсная комиссия</a:t>
              </a:r>
              <a:endParaRPr lang="ru-RU" sz="14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2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5286" y="1892807"/>
              <a:ext cx="604289" cy="636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Группа 29"/>
          <p:cNvGrpSpPr/>
          <p:nvPr/>
        </p:nvGrpSpPr>
        <p:grpSpPr>
          <a:xfrm>
            <a:off x="5374433" y="2788773"/>
            <a:ext cx="2819972" cy="961212"/>
            <a:chOff x="7300454" y="2852938"/>
            <a:chExt cx="3105905" cy="1279500"/>
          </a:xfrm>
        </p:grpSpPr>
        <p:sp>
          <p:nvSpPr>
            <p:cNvPr id="31" name="Стрелка углом 30"/>
            <p:cNvSpPr/>
            <p:nvPr/>
          </p:nvSpPr>
          <p:spPr>
            <a:xfrm rot="10800000">
              <a:off x="7300454" y="2852938"/>
              <a:ext cx="3105905" cy="1279500"/>
            </a:xfrm>
            <a:prstGeom prst="bentArrow">
              <a:avLst>
                <a:gd name="adj1" fmla="val 29126"/>
                <a:gd name="adj2" fmla="val 25000"/>
                <a:gd name="adj3" fmla="val 25000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77286" y="3577843"/>
              <a:ext cx="2570962" cy="45066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Решение о допуске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353731" y="3024765"/>
            <a:ext cx="2389472" cy="646162"/>
            <a:chOff x="983433" y="3258900"/>
            <a:chExt cx="2808313" cy="773870"/>
          </a:xfrm>
        </p:grpSpPr>
        <p:sp>
          <p:nvSpPr>
            <p:cNvPr id="34" name="Стрелка углом 33"/>
            <p:cNvSpPr/>
            <p:nvPr/>
          </p:nvSpPr>
          <p:spPr>
            <a:xfrm rot="16200000">
              <a:off x="2014507" y="2227826"/>
              <a:ext cx="746164" cy="2808312"/>
            </a:xfrm>
            <a:prstGeom prst="bentArrow">
              <a:avLst>
                <a:gd name="adj1" fmla="val 45796"/>
                <a:gd name="adj2" fmla="val 47837"/>
                <a:gd name="adj3" fmla="val 28754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220783" y="3627304"/>
              <a:ext cx="2570963" cy="40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Субсидия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Стрелка вправо 35"/>
          <p:cNvSpPr/>
          <p:nvPr/>
        </p:nvSpPr>
        <p:spPr>
          <a:xfrm>
            <a:off x="1182072" y="1801247"/>
            <a:ext cx="1943100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50" b="1" dirty="0" smtClean="0"/>
              <a:t>Заявление + документы</a:t>
            </a:r>
            <a:endParaRPr lang="ru-RU" sz="1250" b="1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962775" y="1517895"/>
            <a:ext cx="2115102" cy="114224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68000"/>
            <a:r>
              <a:rPr lang="ru-RU" sz="11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1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1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100" b="1" dirty="0" smtClean="0">
                <a:solidFill>
                  <a:srgbClr val="015289"/>
                </a:solidFill>
              </a:rPr>
              <a:t>»</a:t>
            </a:r>
          </a:p>
          <a:p>
            <a:pPr marL="468000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Проверка Заявки</a:t>
            </a:r>
          </a:p>
        </p:txBody>
      </p:sp>
      <p:pic>
        <p:nvPicPr>
          <p:cNvPr id="37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20" y="1822476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16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5293027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6</a:t>
            </a:fld>
            <a:endParaRPr lang="ru-RU" b="1"/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969642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Подача заявки на предоставление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83371" y="1895923"/>
            <a:ext cx="7787407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Ознакомиться</a:t>
            </a:r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 основной информацией и нормативными документами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Зарегистрироваться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на сайте </a:t>
            </a:r>
            <a:r>
              <a:rPr lang="en-US" b="1" dirty="0" smtClean="0">
                <a:solidFill>
                  <a:srgbClr val="002060"/>
                </a:solidFill>
                <a:hlinkClick r:id="rId6"/>
              </a:rPr>
              <a:t>www.fpmo.ru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, внести данные о бизнесе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и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х, заявляемых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Распечатать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формированное на сайте Заявление и иные документы, подписать их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Сделать копии</a:t>
            </a:r>
            <a:r>
              <a:rPr lang="ru-RU" sz="2000" b="1" dirty="0" smtClean="0">
                <a:solidFill>
                  <a:schemeClr val="accent2"/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учредительных документов, а также копии документов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по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м, заявляемым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Подать на конкурс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документы, сшитые в твердой папке</a:t>
            </a:r>
          </a:p>
        </p:txBody>
      </p:sp>
      <p:sp>
        <p:nvSpPr>
          <p:cNvPr id="44" name="Овал 43"/>
          <p:cNvSpPr>
            <a:spLocks noChangeAspect="1"/>
          </p:cNvSpPr>
          <p:nvPr/>
        </p:nvSpPr>
        <p:spPr>
          <a:xfrm>
            <a:off x="426031" y="189592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1</a:t>
            </a:r>
            <a:endParaRPr lang="ru-RU" sz="2400" b="1" dirty="0"/>
          </a:p>
        </p:txBody>
      </p:sp>
      <p:sp>
        <p:nvSpPr>
          <p:cNvPr id="45" name="Овал 44"/>
          <p:cNvSpPr>
            <a:spLocks noChangeAspect="1"/>
          </p:cNvSpPr>
          <p:nvPr/>
        </p:nvSpPr>
        <p:spPr>
          <a:xfrm>
            <a:off x="426030" y="270485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2</a:t>
            </a:r>
            <a:endParaRPr lang="ru-RU" sz="2400" b="1" dirty="0"/>
          </a:p>
        </p:txBody>
      </p:sp>
      <p:sp>
        <p:nvSpPr>
          <p:cNvPr id="46" name="Овал 45"/>
          <p:cNvSpPr>
            <a:spLocks noChangeAspect="1"/>
          </p:cNvSpPr>
          <p:nvPr/>
        </p:nvSpPr>
        <p:spPr>
          <a:xfrm>
            <a:off x="426030" y="360891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3</a:t>
            </a:r>
          </a:p>
        </p:txBody>
      </p:sp>
      <p:sp>
        <p:nvSpPr>
          <p:cNvPr id="47" name="Овал 46"/>
          <p:cNvSpPr>
            <a:spLocks noChangeAspect="1"/>
          </p:cNvSpPr>
          <p:nvPr/>
        </p:nvSpPr>
        <p:spPr>
          <a:xfrm>
            <a:off x="426030" y="451297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4</a:t>
            </a:r>
          </a:p>
        </p:txBody>
      </p:sp>
      <p:sp>
        <p:nvSpPr>
          <p:cNvPr id="48" name="Овал 47"/>
          <p:cNvSpPr>
            <a:spLocks noChangeAspect="1"/>
          </p:cNvSpPr>
          <p:nvPr/>
        </p:nvSpPr>
        <p:spPr>
          <a:xfrm>
            <a:off x="425931" y="5283839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5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27293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66"/>
          <p:cNvSpPr/>
          <p:nvPr/>
        </p:nvSpPr>
        <p:spPr>
          <a:xfrm>
            <a:off x="2248676" y="5905878"/>
            <a:ext cx="2155371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до 15 декабря 2017 года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2547253" y="1508726"/>
            <a:ext cx="1856794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с 1 августа 2017 год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708970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8400" y="6538827"/>
            <a:ext cx="2133600" cy="250198"/>
          </a:xfrm>
        </p:spPr>
        <p:txBody>
          <a:bodyPr/>
          <a:lstStyle/>
          <a:p>
            <a:fld id="{80DB9778-5C0F-8E40-95AF-0B87A891061A}" type="slidenum">
              <a:rPr lang="ru-RU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806165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Механизм Конкурсного отбора по предоставлению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7332" y="1514599"/>
            <a:ext cx="1795353" cy="38079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15289"/>
                </a:solidFill>
              </a:rPr>
              <a:t>ЗАЯВИТЕЛЬ</a:t>
            </a:r>
            <a:endParaRPr lang="ru-RU" b="1" dirty="0">
              <a:solidFill>
                <a:srgbClr val="015289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282756" y="1499395"/>
            <a:ext cx="4615147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одача Заявки в МФЦ</a:t>
            </a:r>
          </a:p>
        </p:txBody>
      </p:sp>
      <p:cxnSp>
        <p:nvCxnSpPr>
          <p:cNvPr id="26" name="Прямая со стрелкой 25"/>
          <p:cNvCxnSpPr>
            <a:stCxn id="25" idx="2"/>
            <a:endCxn id="27" idx="0"/>
          </p:cNvCxnSpPr>
          <p:nvPr/>
        </p:nvCxnSpPr>
        <p:spPr>
          <a:xfrm>
            <a:off x="6590330" y="1895395"/>
            <a:ext cx="4" cy="267213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4282760" y="2162608"/>
            <a:ext cx="4615148" cy="86051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Проверка комплектности документов Регистрация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 в автоматизированной </a:t>
            </a:r>
          </a:p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информационной системе МФЦ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282755" y="3528779"/>
            <a:ext cx="4615146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Э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спертиза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282756" y="4434549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онкурсная комиссия</a:t>
            </a:r>
            <a:endParaRPr lang="ru-RU" sz="16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282755" y="5063166"/>
            <a:ext cx="4615147" cy="592415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Соглашение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с 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Заявителем </a:t>
            </a:r>
            <a:br>
              <a:rPr lang="ru-RU" sz="1600" b="1" kern="0" dirty="0" smtClean="0">
                <a:solidFill>
                  <a:srgbClr val="015289"/>
                </a:solidFill>
                <a:cs typeface="Arial"/>
              </a:rPr>
            </a:b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о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редоставлении субсидии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90501" y="2021399"/>
            <a:ext cx="8707400" cy="12686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90501" y="3180940"/>
            <a:ext cx="8707407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27" idx="2"/>
            <a:endCxn id="28" idx="0"/>
          </p:cNvCxnSpPr>
          <p:nvPr/>
        </p:nvCxnSpPr>
        <p:spPr>
          <a:xfrm flipH="1">
            <a:off x="6590328" y="3023118"/>
            <a:ext cx="6" cy="505661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28" idx="2"/>
            <a:endCxn id="29" idx="0"/>
          </p:cNvCxnSpPr>
          <p:nvPr/>
        </p:nvCxnSpPr>
        <p:spPr>
          <a:xfrm>
            <a:off x="6590328" y="3924779"/>
            <a:ext cx="2" cy="509770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9" idx="2"/>
            <a:endCxn id="31" idx="0"/>
          </p:cNvCxnSpPr>
          <p:nvPr/>
        </p:nvCxnSpPr>
        <p:spPr>
          <a:xfrm flipH="1">
            <a:off x="6590329" y="4830549"/>
            <a:ext cx="1" cy="232617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203179" y="4283091"/>
            <a:ext cx="8694729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Скругленный прямоугольник 45"/>
          <p:cNvSpPr/>
          <p:nvPr/>
        </p:nvSpPr>
        <p:spPr>
          <a:xfrm>
            <a:off x="4282755" y="5896547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еречисление денежных средств Заявителю</a:t>
            </a:r>
          </a:p>
        </p:txBody>
      </p:sp>
      <p:cxnSp>
        <p:nvCxnSpPr>
          <p:cNvPr id="47" name="Прямая со стрелкой 46"/>
          <p:cNvCxnSpPr>
            <a:stCxn id="31" idx="2"/>
            <a:endCxn id="46" idx="0"/>
          </p:cNvCxnSpPr>
          <p:nvPr/>
        </p:nvCxnSpPr>
        <p:spPr>
          <a:xfrm>
            <a:off x="6590329" y="5655581"/>
            <a:ext cx="0" cy="240966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190501" y="3312336"/>
            <a:ext cx="3056552" cy="82888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/>
            <a:r>
              <a:rPr lang="ru-RU" sz="14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4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4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400" b="1" dirty="0" smtClean="0">
                <a:solidFill>
                  <a:srgbClr val="015289"/>
                </a:solidFill>
              </a:rPr>
              <a:t>»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169513" y="2247367"/>
            <a:ext cx="1837327" cy="690991"/>
            <a:chOff x="3996986" y="1567672"/>
            <a:chExt cx="2459054" cy="875507"/>
          </a:xfrm>
        </p:grpSpPr>
        <p:pic>
          <p:nvPicPr>
            <p:cNvPr id="55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986" y="1567672"/>
              <a:ext cx="1333832" cy="862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Скругленный прямоугольник 55"/>
            <p:cNvSpPr/>
            <p:nvPr/>
          </p:nvSpPr>
          <p:spPr>
            <a:xfrm>
              <a:off x="4042044" y="1567672"/>
              <a:ext cx="2413996" cy="875507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ctr" anchorCtr="0"/>
            <a:lstStyle/>
            <a:p>
              <a:pPr marL="900000">
                <a:lnSpc>
                  <a:spcPct val="70000"/>
                </a:lnSpc>
              </a:pPr>
              <a:r>
                <a:rPr lang="ru-RU" b="1" dirty="0" smtClean="0">
                  <a:solidFill>
                    <a:srgbClr val="015289"/>
                  </a:solidFill>
                </a:rPr>
                <a:t>  МФЦ</a:t>
              </a:r>
              <a:endParaRPr lang="ru-RU" b="1" dirty="0">
                <a:solidFill>
                  <a:srgbClr val="015289"/>
                </a:solidFill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82193" y="4434549"/>
            <a:ext cx="3064860" cy="828000"/>
            <a:chOff x="8608218" y="1627963"/>
            <a:chExt cx="4062951" cy="991647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8608218" y="1627963"/>
              <a:ext cx="4062951" cy="99164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4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/>
              </a:r>
              <a:br>
                <a:rPr lang="ru-RU" sz="1400" b="1" dirty="0" smtClean="0">
                  <a:solidFill>
                    <a:srgbClr val="015289"/>
                  </a:solidFill>
                </a:rPr>
              </a:br>
              <a:r>
                <a:rPr lang="ru-RU" sz="14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400" b="1" dirty="0">
                  <a:solidFill>
                    <a:srgbClr val="015289"/>
                  </a:solidFill>
                </a:rPr>
                <a:t>инноваций Московско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>области</a:t>
              </a:r>
              <a:endParaRPr lang="ru-RU" b="1" dirty="0">
                <a:solidFill>
                  <a:srgbClr val="F68426"/>
                </a:solidFill>
              </a:endParaRPr>
            </a:p>
          </p:txBody>
        </p:sp>
        <p:pic>
          <p:nvPicPr>
            <p:cNvPr id="5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1222" y="1832379"/>
              <a:ext cx="532256" cy="560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1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1" y="3492779"/>
            <a:ext cx="401504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314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/>
              <a:t>КОНКУРСНЫЙ ОТБОР </a:t>
            </a:r>
            <a:r>
              <a:rPr lang="ru-RU" dirty="0" smtClean="0"/>
              <a:t>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8294808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8</a:t>
            </a:fld>
            <a:endParaRPr lang="ru-RU" b="1"/>
          </a:p>
        </p:txBody>
      </p:sp>
      <p:sp>
        <p:nvSpPr>
          <p:cNvPr id="22" name="TextBox 21"/>
          <p:cNvSpPr txBox="1"/>
          <p:nvPr/>
        </p:nvSpPr>
        <p:spPr>
          <a:xfrm>
            <a:off x="1150033" y="1242180"/>
            <a:ext cx="68742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0" dirty="0">
                <a:solidFill>
                  <a:srgbClr val="0152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 заявок на участие в Конкурсном отборе: </a:t>
            </a:r>
          </a:p>
          <a:p>
            <a:pPr algn="ctr"/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в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 МФЦ с </a:t>
            </a:r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1 августа 2017 года</a:t>
            </a:r>
            <a:endParaRPr lang="ru-RU" sz="2000" b="1" dirty="0">
              <a:solidFill>
                <a:schemeClr val="accent6">
                  <a:lumMod val="75000"/>
                </a:schemeClr>
              </a:solidFill>
              <a:cs typeface="Arial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4913214" y="3065962"/>
            <a:ext cx="3745590" cy="1152001"/>
            <a:chOff x="5303912" y="3165242"/>
            <a:chExt cx="3600400" cy="1238174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5303912" y="3165242"/>
              <a:ext cx="3600400" cy="123817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endParaRPr lang="ru-RU" b="1" dirty="0">
                <a:solidFill>
                  <a:schemeClr val="accent2"/>
                </a:solidFill>
              </a:endParaRPr>
            </a:p>
          </p:txBody>
        </p:sp>
        <p:pic>
          <p:nvPicPr>
            <p:cNvPr id="25" name="Picture 20" descr="C:\Users\SindyakovPS\Desktop\Малый бизнес Подмосковья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2062" y="3305128"/>
              <a:ext cx="2324100" cy="628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10"/>
            <p:cNvSpPr txBox="1">
              <a:spLocks noChangeArrowheads="1"/>
            </p:cNvSpPr>
            <p:nvPr/>
          </p:nvSpPr>
          <p:spPr bwMode="auto">
            <a:xfrm>
              <a:off x="5942062" y="3974977"/>
              <a:ext cx="2324100" cy="363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ru-RU" sz="1600" b="1" dirty="0">
                  <a:latin typeface="+mn-lt"/>
                  <a:hlinkClick r:id="rId7"/>
                </a:rPr>
                <a:t>http://</a:t>
              </a:r>
              <a:r>
                <a:rPr lang="en-US" altLang="ru-RU" sz="1600" b="1" dirty="0" smtClean="0">
                  <a:latin typeface="+mn-lt"/>
                  <a:hlinkClick r:id="rId7"/>
                </a:rPr>
                <a:t>mbmosreg.ru</a:t>
              </a:r>
              <a:endParaRPr lang="en-US" altLang="ru-RU" sz="1600" b="1" dirty="0">
                <a:latin typeface="+mn-lt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150031" y="2385998"/>
            <a:ext cx="68742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kern="0" dirty="0">
                <a:solidFill>
                  <a:srgbClr val="015289"/>
                </a:solidFill>
                <a:cs typeface="Arial" panose="020B0604020202020204" pitchFamily="34" charset="0"/>
              </a:rPr>
              <a:t>Информация о проведении Конкурсного отбора: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41170" y="4749428"/>
            <a:ext cx="3619296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Министерство инвестиций </a:t>
            </a:r>
          </a:p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и инноваций Московской области</a:t>
            </a:r>
          </a:p>
          <a:p>
            <a:pPr marL="612000"/>
            <a:r>
              <a:rPr lang="en-US" altLang="ru-RU" sz="1600" b="1" dirty="0">
                <a:solidFill>
                  <a:schemeClr val="accent2"/>
                </a:solidFill>
                <a:hlinkClick r:id="rId8"/>
              </a:rPr>
              <a:t>http://mii.mosreg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4913217" y="4749428"/>
            <a:ext cx="3745589" cy="1152000"/>
            <a:chOff x="6816081" y="4791612"/>
            <a:chExt cx="3745589" cy="1440000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6816081" y="4791612"/>
              <a:ext cx="3745589" cy="1440000"/>
              <a:chOff x="4147792" y="1435415"/>
              <a:chExt cx="3265920" cy="1234426"/>
            </a:xfrm>
          </p:grpSpPr>
          <p:pic>
            <p:nvPicPr>
              <p:cNvPr id="34" name="Picture 4" descr="Похожее изображение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73364" y="1646857"/>
                <a:ext cx="1090149" cy="8115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Скругленный прямоугольник 34"/>
              <p:cNvSpPr/>
              <p:nvPr/>
            </p:nvSpPr>
            <p:spPr>
              <a:xfrm>
                <a:off x="4147792" y="1435415"/>
                <a:ext cx="3265920" cy="1234426"/>
              </a:xfrm>
              <a:prstGeom prst="roundRect">
                <a:avLst/>
              </a:prstGeom>
              <a:noFill/>
              <a:ln w="19050">
                <a:solidFill>
                  <a:srgbClr val="015289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bIns="0" rtlCol="0" anchor="b" anchorCtr="0"/>
              <a:lstStyle/>
              <a:p>
                <a:pPr algn="ctr">
                  <a:lnSpc>
                    <a:spcPct val="70000"/>
                  </a:lnSpc>
                </a:pPr>
                <a:endParaRPr lang="ru-RU" sz="1600" b="1" dirty="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3" name="Прямоугольник 32"/>
            <p:cNvSpPr/>
            <p:nvPr/>
          </p:nvSpPr>
          <p:spPr>
            <a:xfrm>
              <a:off x="8250960" y="5300015"/>
              <a:ext cx="2098394" cy="4231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u="sng" dirty="0">
                  <a:solidFill>
                    <a:srgbClr val="003CFE"/>
                  </a:solidFill>
                  <a:ea typeface="Arial" charset="0"/>
                  <a:cs typeface="Arial" charset="0"/>
                </a:rPr>
                <a:t>http://mfc.mosreg.ru</a:t>
              </a:r>
              <a:endParaRPr lang="ru-RU" sz="1600" b="1" u="sng" dirty="0">
                <a:solidFill>
                  <a:srgbClr val="003CFE"/>
                </a:solidFill>
                <a:ea typeface="Arial" charset="0"/>
                <a:cs typeface="Arial" charset="0"/>
              </a:endParaRPr>
            </a:p>
          </p:txBody>
        </p:sp>
      </p:grpSp>
      <p:sp>
        <p:nvSpPr>
          <p:cNvPr id="37" name="Скругленный прямоугольник 36"/>
          <p:cNvSpPr/>
          <p:nvPr/>
        </p:nvSpPr>
        <p:spPr>
          <a:xfrm>
            <a:off x="541171" y="3065958"/>
            <a:ext cx="3600635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ГКУ МО «Московский областной центр 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поддержки </a:t>
            </a: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предпринимательства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»</a:t>
            </a:r>
          </a:p>
          <a:p>
            <a:pPr marL="612000"/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http</a:t>
            </a:r>
            <a:r>
              <a:rPr lang="en-US" altLang="ru-RU" sz="1600" b="1" dirty="0">
                <a:solidFill>
                  <a:schemeClr val="accent2"/>
                </a:solidFill>
                <a:hlinkClick r:id="rId10"/>
              </a:rPr>
              <a:t>://</a:t>
            </a:r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www.fpmo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pic>
        <p:nvPicPr>
          <p:cNvPr id="39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336279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505976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13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515752" y="3119767"/>
            <a:ext cx="6409855" cy="400110"/>
          </a:xfrm>
        </p:spPr>
        <p:txBody>
          <a:bodyPr/>
          <a:lstStyle/>
          <a:p>
            <a:pPr algn="ctr"/>
            <a:r>
              <a:rPr lang="ru-RU" sz="2600" dirty="0" smtClean="0">
                <a:solidFill>
                  <a:srgbClr val="004586"/>
                </a:solidFill>
                <a:ea typeface="Calibri"/>
              </a:rPr>
              <a:t>СПАСИБО ЗА ВНИМАНИЕ!</a:t>
            </a:r>
            <a:endParaRPr lang="ru-RU" sz="26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0650899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3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868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B8.lYDeEWTPepbkWFX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26</TotalTime>
  <Words>481</Words>
  <Application>Microsoft Office PowerPoint</Application>
  <PresentationFormat>Экран (4:3)</PresentationFormat>
  <Paragraphs>103</Paragraphs>
  <Slides>9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9</vt:i4>
      </vt:variant>
    </vt:vector>
  </HeadingPairs>
  <TitlesOfParts>
    <vt:vector size="10" baseType="lpstr">
      <vt:lpstr>Тема Office</vt:lpstr>
      <vt:lpstr>Поддержка малого и среднего предпринимательства в Московской области в 2017 году  СУБСИДИИ </vt:lpstr>
      <vt:lpstr>МЕРЫ ФИНАНСОВОЙ ПОДДЕРЖКИ – СУБСИДИИ</vt:lpstr>
      <vt:lpstr>МЕРЫ ФИНАНСОВОЙ ПОДДЕРЖКИ – СУБСИДИИ</vt:lpstr>
      <vt:lpstr>МЕРЫ ФИНАНСОВОЙ ПОДДЕРЖКИ – СУБСИДИИ</vt:lpstr>
      <vt:lpstr>ПРИЁМ ЗАЯВОК НА ПРЕДОСТАВЛЕНИЕ СУБСИДИЙ ЧЕРЕЗ МФЦ</vt:lpstr>
      <vt:lpstr>КОНКУРСНЫЙ ОТБОР ПО ПРЕДОСТАВЛЕНИЮ СУБСИДИЙ</vt:lpstr>
      <vt:lpstr>КОНКУРСНЫЙ ОТБОР ПО ПРЕДОСТАВЛЕНИЮ СУБСИДИЙ</vt:lpstr>
      <vt:lpstr>КОНКУРСНЫЙ ОТБОР ПО ПРЕДОСТАВЛЕНИЮ СУБСИДИЙ</vt:lpstr>
      <vt:lpstr>СПАСИБО ЗА ВНИМАНИЕ!</vt:lpstr>
    </vt:vector>
  </TitlesOfParts>
  <Company>infoex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плрп</dc:creator>
  <cp:lastModifiedBy>Богачева Алла Халимовна</cp:lastModifiedBy>
  <cp:revision>377</cp:revision>
  <cp:lastPrinted>2017-07-13T06:45:40Z</cp:lastPrinted>
  <dcterms:created xsi:type="dcterms:W3CDTF">2015-04-14T10:20:06Z</dcterms:created>
  <dcterms:modified xsi:type="dcterms:W3CDTF">2017-08-14T09:03:36Z</dcterms:modified>
</cp:coreProperties>
</file>